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9"/>
  </p:notesMasterIdLst>
  <p:sldIdLst>
    <p:sldId id="4313" r:id="rId3"/>
    <p:sldId id="3477" r:id="rId4"/>
    <p:sldId id="4315" r:id="rId5"/>
    <p:sldId id="4314" r:id="rId6"/>
    <p:sldId id="1515" r:id="rId7"/>
    <p:sldId id="4316" r:id="rId8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7839D71-5E24-4B91-86AA-08A3FD88E48E}" v="11" dt="2021-11-05T08:41:45.2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7" autoAdjust="0"/>
    <p:restoredTop sz="93737" autoAdjust="0"/>
  </p:normalViewPr>
  <p:slideViewPr>
    <p:cSldViewPr snapToGrid="0">
      <p:cViewPr varScale="1">
        <p:scale>
          <a:sx n="63" d="100"/>
          <a:sy n="63" d="100"/>
        </p:scale>
        <p:origin x="796" y="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1F5419-4C9E-408A-957C-3070A1A965A3}" type="datetimeFigureOut">
              <a:rPr lang="nb-NO" smtClean="0"/>
              <a:t>04.11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8E2687-B9C0-41EA-9637-6F186261106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299339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8E2687-B9C0-41EA-9637-6F1862611066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28582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4002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1A15BE-DA69-4204-8406-316C4112C960}" type="slidenum">
              <a:rPr kumimoji="0" lang="nb-NO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4002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6538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C1B6A75-E76E-4C9D-B04D-6A7F48242A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765D6F84-5526-4321-A897-52F6B001C96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F23B754-B049-42A2-90DC-3201229E73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A4652-8AA0-4853-9ACD-3C97E20BD953}" type="datetimeFigureOut">
              <a:rPr lang="nb-NO" smtClean="0"/>
              <a:t>04.11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5FDB1C4-9FCB-42F7-8E1C-92F209F407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2787BD4-4897-4C14-9BB4-9ED135908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88779-0205-41DF-86E1-8ED76C0F0E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17461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11D78FC-9B42-43A9-89BD-B7AA762B17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DEA89425-4411-4318-8704-741CA78513C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8E096DA-C4A3-46EE-97BA-4C0E1E02F8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A4652-8AA0-4853-9ACD-3C97E20BD953}" type="datetimeFigureOut">
              <a:rPr lang="nb-NO" smtClean="0"/>
              <a:t>04.11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61B949C-06F9-4AB4-B89D-93ECC85C1C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6395696-4712-455B-81DC-7683B3990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88779-0205-41DF-86E1-8ED76C0F0E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047225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9E8D7DB5-20E2-4F48-B036-0C24B85D6CB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A32CB57A-140D-4A97-8898-7A0A68AF38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E989375-358F-45D3-92F1-F1F731B609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A4652-8AA0-4853-9ACD-3C97E20BD953}" type="datetimeFigureOut">
              <a:rPr lang="nb-NO" smtClean="0"/>
              <a:t>04.11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89F4D05-E905-4303-A383-88F6D0303F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FF42FD4-F740-4901-BDC4-815DA7C20F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88779-0205-41DF-86E1-8ED76C0F0E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767096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90FB7AF-50FD-461B-A24C-E25967160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FEB76FE-6B12-49B5-93F4-D389B3C720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Franklin Gothic Medium Cond" panose="020B0606030402020204" pitchFamily="34" charset="0"/>
              </a:defRPr>
            </a:lvl1pPr>
            <a:lvl2pPr>
              <a:defRPr>
                <a:latin typeface="Franklin Gothic Medium Cond" panose="020B0606030402020204" pitchFamily="34" charset="0"/>
              </a:defRPr>
            </a:lvl2pPr>
            <a:lvl3pPr>
              <a:defRPr>
                <a:latin typeface="Franklin Gothic Medium Cond" panose="020B0606030402020204" pitchFamily="34" charset="0"/>
              </a:defRPr>
            </a:lvl3pPr>
            <a:lvl4pPr>
              <a:defRPr>
                <a:latin typeface="Franklin Gothic Medium Cond" panose="020B0606030402020204" pitchFamily="34" charset="0"/>
              </a:defRPr>
            </a:lvl4pPr>
            <a:lvl5pPr>
              <a:defRPr>
                <a:latin typeface="Franklin Gothic Medium Cond" panose="020B0606030402020204" pitchFamily="34" charset="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749107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A5B6B1A-31F3-4CDE-AB4F-D243AF2E4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763F7F9-130B-4562-8F6A-17814DB91C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57698C1-992D-4D74-8DD1-A93CF4E776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A4652-8AA0-4853-9ACD-3C97E20BD953}" type="datetimeFigureOut">
              <a:rPr lang="nb-NO" smtClean="0"/>
              <a:t>04.11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3B0505A-F93F-4E9E-87B9-D42E3B517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E825F78-A86A-48D8-B951-930F4D154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88779-0205-41DF-86E1-8ED76C0F0E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183096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BC10183-9323-404F-9945-FD40878D1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15C9274-07B3-413C-ABE2-B3376757FF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5A6ECF1-B4AD-4EC8-8CF3-C28AD25B71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A4652-8AA0-4853-9ACD-3C97E20BD953}" type="datetimeFigureOut">
              <a:rPr lang="nb-NO" smtClean="0"/>
              <a:t>04.11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1075DB-0C42-4BC9-A1AF-70074AF6BC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E86D2E6-37C5-4C1B-A1CA-5E65DC5A5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88779-0205-41DF-86E1-8ED76C0F0E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9325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1F85BEA-D65B-4DD6-8252-171A983D8E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5694721-2DD2-448B-A8AE-C45D29EA67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01FFCFB5-47D9-4C4F-AA11-1EC6D44251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45DBB5D-0E0B-4F27-94A2-604B31F425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A4652-8AA0-4853-9ACD-3C97E20BD953}" type="datetimeFigureOut">
              <a:rPr lang="nb-NO" smtClean="0"/>
              <a:t>04.11.2021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AD8832C-E914-416F-AE4A-21B829EC5E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E1204CE-4EE0-4CC2-842D-7085FDB4A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88779-0205-41DF-86E1-8ED76C0F0E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78293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7691404-EA24-457E-9339-695B5F5BB5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177B534-AC8C-4BAE-BBE5-B672F23D3A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33E597A-14FE-4B8A-8541-D5E79CBD25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6B8E323F-A837-49B8-A640-C5903CDA45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61DAFECE-67CE-4E61-95E6-EC33B00CC2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B888FBE1-268D-4BAE-876F-13F1E21B1A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A4652-8AA0-4853-9ACD-3C97E20BD953}" type="datetimeFigureOut">
              <a:rPr lang="nb-NO" smtClean="0"/>
              <a:t>04.11.2021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CEE75D5C-3012-4342-89DE-01C00AEC06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D5AE1FFD-8395-4A34-8B8B-3B42950F1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88779-0205-41DF-86E1-8ED76C0F0E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439610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C4A7070-07EA-408A-8ABB-09CBAF3F34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15AE16B9-A4E8-4D91-810C-779AAE3F2D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A4652-8AA0-4853-9ACD-3C97E20BD953}" type="datetimeFigureOut">
              <a:rPr lang="nb-NO" smtClean="0"/>
              <a:t>04.11.2021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BCD1ECF7-3B34-42ED-B301-DB357F29A8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7FF2549-AAB5-45B7-BAA8-507ABEE8B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88779-0205-41DF-86E1-8ED76C0F0E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65821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79B25385-0E7F-4204-88BA-8ED6ED40DD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A4652-8AA0-4853-9ACD-3C97E20BD953}" type="datetimeFigureOut">
              <a:rPr lang="nb-NO" smtClean="0"/>
              <a:t>04.11.2021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12D87925-8406-4323-B13A-5B474F276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16B942AE-744D-4E3F-816B-A414913E6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88779-0205-41DF-86E1-8ED76C0F0E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1727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395FDF5-B9C4-4926-8891-1C3F69E007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83D525F-C49E-4D18-A560-DD41FDED2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C33CE40D-185C-44C2-8661-63AFEDE0ECD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A14F9EA-B2C5-4622-B144-D7C8B4015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A4652-8AA0-4853-9ACD-3C97E20BD953}" type="datetimeFigureOut">
              <a:rPr lang="nb-NO" smtClean="0"/>
              <a:t>04.11.2021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B82042F-45CD-428E-A45B-C1F98573E3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10A7530C-A8F8-47EB-B82F-D24E7B8D5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88779-0205-41DF-86E1-8ED76C0F0E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94423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1762A2E-A7A5-4B8E-87A5-2ED8790C48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D889B71C-0DF6-4110-9079-31DABE01B65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4219F2F-EBCB-4D17-88D5-D8988520C4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6D7EBBF2-A7F9-42DB-B86F-2208091A8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6A4652-8AA0-4853-9ACD-3C97E20BD953}" type="datetimeFigureOut">
              <a:rPr lang="nb-NO" smtClean="0"/>
              <a:t>04.11.2021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69410615-C26B-4267-9398-9EB44F1DCA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1C9598D-CD7F-4C6B-AF89-642923B8EA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88779-0205-41DF-86E1-8ED76C0F0E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162459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A45DACB1-CE8D-4C59-9949-C33A86D7AF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0DA351F-BB84-4ACE-B7E2-0059321A5B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EC75813-FDCE-40FA-9DAD-3838B4A66E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6A4652-8AA0-4853-9ACD-3C97E20BD953}" type="datetimeFigureOut">
              <a:rPr lang="nb-NO" smtClean="0"/>
              <a:t>04.11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48298B1-1021-4817-BA60-DDE27BD459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F240961-3C7A-40F8-932A-9F5A0A92D6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B88779-0205-41DF-86E1-8ED76C0F0E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968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DE15441A-4D84-4F76-A035-2A4887878E92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667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Franklin Gothic Demi Cond" panose="020B0706030402020204" pitchFamily="34" charset="0"/>
              <a:ea typeface="+mj-ea"/>
              <a:cs typeface="+mj-cs"/>
              <a:sym typeface="Franklin Gothic Demi Cond" panose="020B0706030402020204" pitchFamily="34" charset="0"/>
            </a:endParaRP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231383" y="3175"/>
            <a:ext cx="11575387" cy="9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45720" rIns="108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/>
              <a:t>Klikk for å redigere tittelstil</a:t>
            </a: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1383" y="1228099"/>
            <a:ext cx="11575387" cy="4925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288000" rIns="108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B38719C9-E27E-4F0D-9FFD-E3232691F36C}"/>
              </a:ext>
            </a:extLst>
          </p:cNvPr>
          <p:cNvSpPr txBox="1"/>
          <p:nvPr userDrawn="1"/>
        </p:nvSpPr>
        <p:spPr>
          <a:xfrm>
            <a:off x="123373" y="6582228"/>
            <a:ext cx="5972628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nb-NO" sz="933" dirty="0">
                <a:solidFill>
                  <a:schemeClr val="accent1"/>
                </a:solidFill>
                <a:latin typeface="Franklin Gothic Book" panose="020B0503020102020204" pitchFamily="34" charset="0"/>
              </a:rPr>
              <a:t>Spektrumkvarteret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78058EC2-68DE-49EC-901E-4C1C0D1FCA4D}"/>
              </a:ext>
            </a:extLst>
          </p:cNvPr>
          <p:cNvSpPr txBox="1"/>
          <p:nvPr userDrawn="1"/>
        </p:nvSpPr>
        <p:spPr>
          <a:xfrm>
            <a:off x="7148286" y="6582228"/>
            <a:ext cx="4920343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933" dirty="0">
                <a:solidFill>
                  <a:schemeClr val="accent1"/>
                </a:solidFill>
                <a:latin typeface="Franklin Gothic Book" panose="020B0503020102020204" pitchFamily="34" charset="0"/>
              </a:rPr>
              <a:t>Side </a:t>
            </a:r>
            <a:fld id="{E74902A2-9911-4F7E-87EE-EC71F3B8011E}" type="slidenum">
              <a:rPr lang="nb-NO" sz="933" smtClean="0">
                <a:solidFill>
                  <a:schemeClr val="accent1"/>
                </a:solidFill>
                <a:latin typeface="Franklin Gothic Book" panose="020B0503020102020204" pitchFamily="34" charset="0"/>
              </a:rPr>
              <a:t>‹#›</a:t>
            </a:fld>
            <a:endParaRPr lang="nb-NO" sz="933" dirty="0">
              <a:solidFill>
                <a:schemeClr val="accent1"/>
              </a:solidFill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1380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nb-NO" sz="2667" b="1" dirty="0">
          <a:solidFill>
            <a:srgbClr val="0084A1"/>
          </a:solidFill>
          <a:latin typeface="Franklin Gothic Demi Cond" panose="020B0706030402020204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4267">
          <a:solidFill>
            <a:schemeClr val="tx2"/>
          </a:solidFill>
          <a:latin typeface="Arial" charset="0"/>
        </a:defRPr>
      </a:lvl9pPr>
    </p:titleStyle>
    <p:bodyStyle>
      <a:lvl1pPr marL="241294" indent="-241294" algn="l" rtl="0" eaLnBrk="1" fontAlgn="base" hangingPunct="1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sz="1867">
          <a:solidFill>
            <a:schemeClr val="tx1"/>
          </a:solidFill>
          <a:latin typeface="+mn-lt"/>
          <a:ea typeface="+mn-ea"/>
          <a:cs typeface="+mn-cs"/>
        </a:defRPr>
      </a:lvl1pPr>
      <a:lvl2pPr marL="950360" indent="-228594" algn="l" rtl="0" eaLnBrk="1" fontAlgn="base" hangingPunct="1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sz="1867">
          <a:solidFill>
            <a:schemeClr val="tx1"/>
          </a:solidFill>
          <a:latin typeface="+mn-lt"/>
        </a:defRPr>
      </a:lvl2pPr>
      <a:lvl3pPr marL="1672125" indent="-241294" algn="l" rtl="0" eaLnBrk="1" fontAlgn="base" hangingPunct="1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3pPr>
      <a:lvl4pPr marL="2396007" indent="-241294" algn="l" rtl="0" eaLnBrk="1" fontAlgn="base" hangingPunct="1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4pPr>
      <a:lvl5pPr marL="3105073" indent="-241294" algn="l" rtl="0" eaLnBrk="1" fontAlgn="base" hangingPunct="1">
        <a:spcBef>
          <a:spcPct val="0"/>
        </a:spcBef>
        <a:spcAft>
          <a:spcPct val="0"/>
        </a:spcAft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5pPr>
      <a:lvl6pPr marL="3714658" indent="-241294" algn="l" rtl="0" eaLnBrk="1" fontAlgn="base" hangingPunct="1">
        <a:spcBef>
          <a:spcPct val="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6pPr>
      <a:lvl7pPr marL="4324243" indent="-241294" algn="l" rtl="0" eaLnBrk="1" fontAlgn="base" hangingPunct="1">
        <a:spcBef>
          <a:spcPct val="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7pPr>
      <a:lvl8pPr marL="4933827" indent="-241294" algn="l" rtl="0" eaLnBrk="1" fontAlgn="base" hangingPunct="1">
        <a:spcBef>
          <a:spcPct val="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8pPr>
      <a:lvl9pPr marL="5543412" indent="-241294" algn="l" rtl="0" eaLnBrk="1" fontAlgn="base" hangingPunct="1">
        <a:spcBef>
          <a:spcPct val="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9pPr>
    </p:bodyStyle>
    <p:otherStyle>
      <a:defPPr>
        <a:defRPr lang="nb-NO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9.jpeg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Oslo Spektrum – BYGGUTENGRENSER">
            <a:extLst>
              <a:ext uri="{FF2B5EF4-FFF2-40B4-BE49-F238E27FC236}">
                <a16:creationId xmlns:a16="http://schemas.microsoft.com/office/drawing/2014/main" id="{7B37B946-E6ED-48FD-A762-F1483E36A8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66" b="8432"/>
          <a:stretch/>
        </p:blipFill>
        <p:spPr bwMode="auto">
          <a:xfrm>
            <a:off x="3132" y="0"/>
            <a:ext cx="12188868" cy="68667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9E330CDB-3CBD-471B-94DA-55CA745AEBB2}"/>
              </a:ext>
            </a:extLst>
          </p:cNvPr>
          <p:cNvSpPr/>
          <p:nvPr/>
        </p:nvSpPr>
        <p:spPr bwMode="auto">
          <a:xfrm>
            <a:off x="-6264" y="1"/>
            <a:ext cx="12195132" cy="6866784"/>
          </a:xfrm>
          <a:prstGeom prst="rect">
            <a:avLst/>
          </a:prstGeom>
          <a:gradFill flip="none" rotWithShape="1">
            <a:gsLst>
              <a:gs pos="24000">
                <a:schemeClr val="tx1">
                  <a:alpha val="45000"/>
                </a:schemeClr>
              </a:gs>
              <a:gs pos="100000">
                <a:schemeClr val="tx1">
                  <a:alpha val="96000"/>
                </a:schemeClr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1219140" fontAlgn="base">
              <a:spcBef>
                <a:spcPct val="50000"/>
              </a:spcBef>
              <a:spcAft>
                <a:spcPct val="0"/>
              </a:spcAft>
            </a:pPr>
            <a:endParaRPr lang="nb-NO" sz="1600" dirty="0">
              <a:solidFill>
                <a:prstClr val="black"/>
              </a:solidFill>
              <a:latin typeface="Montserrat" panose="00000500000000000000" pitchFamily="50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0AC0983-8E8E-44BD-B81F-55FA8FF98A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278" y="3937346"/>
            <a:ext cx="10271124" cy="819150"/>
          </a:xfrm>
        </p:spPr>
        <p:txBody>
          <a:bodyPr>
            <a:normAutofit fontScale="90000"/>
          </a:bodyPr>
          <a:lstStyle/>
          <a:p>
            <a:br>
              <a:rPr lang="nb-NO" sz="1800" dirty="0">
                <a:solidFill>
                  <a:schemeClr val="bg1"/>
                </a:solidFill>
                <a:effectLst/>
                <a:latin typeface="Franklin Gothic Medium Cond" panose="020B06060304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nb-NO" sz="5400" dirty="0">
                <a:solidFill>
                  <a:schemeClr val="bg1"/>
                </a:solidFill>
                <a:effectLst/>
                <a:latin typeface="Franklin Gothic Medium Cond" panose="020B0606030402020204" pitchFamily="34" charset="0"/>
                <a:ea typeface="Times New Roman" panose="02020603050405020304" pitchFamily="18" charset="0"/>
              </a:rPr>
              <a:t>Samarbeid som utfyller og utfordrer!</a:t>
            </a:r>
            <a:endParaRPr lang="nb-NO" dirty="0">
              <a:solidFill>
                <a:schemeClr val="bg1"/>
              </a:solidFill>
              <a:latin typeface="Franklin Gothic Medium Cond" panose="020B0606030402020204" pitchFamily="34" charset="0"/>
            </a:endParaRP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65E07783-C033-43E7-87B3-F82C39BAE6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56800" y="364845"/>
            <a:ext cx="2857500" cy="581025"/>
          </a:xfrm>
          <a:prstGeom prst="rect">
            <a:avLst/>
          </a:prstGeom>
        </p:spPr>
      </p:pic>
      <p:sp>
        <p:nvSpPr>
          <p:cNvPr id="20" name="TekstSylinder 19">
            <a:extLst>
              <a:ext uri="{FF2B5EF4-FFF2-40B4-BE49-F238E27FC236}">
                <a16:creationId xmlns:a16="http://schemas.microsoft.com/office/drawing/2014/main" id="{4276F32C-F1CB-4004-BB12-7DB71EEE9B73}"/>
              </a:ext>
            </a:extLst>
          </p:cNvPr>
          <p:cNvSpPr txBox="1"/>
          <p:nvPr/>
        </p:nvSpPr>
        <p:spPr>
          <a:xfrm>
            <a:off x="763659" y="4943927"/>
            <a:ext cx="764484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2400" b="1" dirty="0">
                <a:solidFill>
                  <a:schemeClr val="bg1"/>
                </a:solidFill>
                <a:latin typeface="Franklin Gothic Medium Cond" panose="020B0606030402020204" pitchFamily="34" charset="0"/>
                <a:ea typeface="Times New Roman" panose="02020603050405020304" pitchFamily="18" charset="0"/>
              </a:rPr>
              <a:t>K</a:t>
            </a:r>
            <a:r>
              <a:rPr lang="nb-NO" sz="2400" b="1" dirty="0">
                <a:solidFill>
                  <a:schemeClr val="bg1"/>
                </a:solidFill>
                <a:effectLst/>
                <a:latin typeface="Franklin Gothic Medium Cond" panose="020B0606030402020204" pitchFamily="34" charset="0"/>
                <a:ea typeface="Times New Roman" panose="02020603050405020304" pitchFamily="18" charset="0"/>
              </a:rPr>
              <a:t>onsernsjef Gunnar Bøyum, Aspelin Ramm</a:t>
            </a:r>
          </a:p>
          <a:p>
            <a:r>
              <a:rPr lang="nb-NO" sz="2400" b="1" dirty="0">
                <a:solidFill>
                  <a:schemeClr val="bg1"/>
                </a:solidFill>
                <a:latin typeface="Franklin Gothic Medium Cond" panose="020B0606030402020204" pitchFamily="34" charset="0"/>
                <a:ea typeface="Times New Roman" panose="02020603050405020304" pitchFamily="18" charset="0"/>
              </a:rPr>
              <a:t>A</a:t>
            </a:r>
            <a:r>
              <a:rPr lang="nb-NO" sz="2400" b="1" dirty="0">
                <a:solidFill>
                  <a:schemeClr val="bg1"/>
                </a:solidFill>
                <a:effectLst/>
                <a:latin typeface="Franklin Gothic Medium Cond" panose="020B0606030402020204" pitchFamily="34" charset="0"/>
                <a:ea typeface="Times New Roman" panose="02020603050405020304" pitchFamily="18" charset="0"/>
              </a:rPr>
              <a:t>dm. direktør Gunn Helen Hagen, Stiftelsen Norges Varemesse</a:t>
            </a:r>
            <a:endParaRPr lang="nb-NO" sz="2400" b="1" dirty="0">
              <a:solidFill>
                <a:schemeClr val="bg1"/>
              </a:solidFill>
              <a:latin typeface="Franklin Gothic Medium Cond" panose="020B0606030402020204" pitchFamily="34" charset="0"/>
            </a:endParaRPr>
          </a:p>
        </p:txBody>
      </p:sp>
      <p:pic>
        <p:nvPicPr>
          <p:cNvPr id="27" name="Bilde 26">
            <a:extLst>
              <a:ext uri="{FF2B5EF4-FFF2-40B4-BE49-F238E27FC236}">
                <a16:creationId xmlns:a16="http://schemas.microsoft.com/office/drawing/2014/main" id="{9C32217F-7B9B-468A-A7BF-566560A4610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700" y="229600"/>
            <a:ext cx="1761292" cy="106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0648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http://www.lpo.no/getfile.php/137267/Prosjekter/Oslo%20Spektrum/8.jpg%20%28fullwidth%29.jpg">
            <a:extLst>
              <a:ext uri="{FF2B5EF4-FFF2-40B4-BE49-F238E27FC236}">
                <a16:creationId xmlns:a16="http://schemas.microsoft.com/office/drawing/2014/main" id="{F9385C97-F641-449D-BEEF-015040487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9034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B5E0F24E-A077-4E32-B53E-BD117F70BE9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5" name="Bilde 4" descr="Et bilde som inneholder utendørs, himmel, by, tårn&#10;&#10;Automatisk generert beskrivelse">
            <a:extLst>
              <a:ext uri="{FF2B5EF4-FFF2-40B4-BE49-F238E27FC236}">
                <a16:creationId xmlns:a16="http://schemas.microsoft.com/office/drawing/2014/main" id="{A0873886-AE77-4359-A75F-95597B2220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3374" y="0"/>
            <a:ext cx="79852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7603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1026" name="Picture 2" descr="Et bilde som inneholder bygning, personer, dag&#10;&#10;Automatisk generert beskrivelse">
            <a:extLst>
              <a:ext uri="{FF2B5EF4-FFF2-40B4-BE49-F238E27FC236}">
                <a16:creationId xmlns:a16="http://schemas.microsoft.com/office/drawing/2014/main" id="{94644BE4-5BE5-4B7E-B352-330BFDF5DF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29" b="8380"/>
          <a:stretch/>
        </p:blipFill>
        <p:spPr bwMode="auto">
          <a:xfrm>
            <a:off x="20" y="1282"/>
            <a:ext cx="12191980" cy="68567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66304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lassholder for innhold 4">
            <a:extLst>
              <a:ext uri="{FF2B5EF4-FFF2-40B4-BE49-F238E27FC236}">
                <a16:creationId xmlns:a16="http://schemas.microsoft.com/office/drawing/2014/main" id="{F2DBCF20-9192-4413-BC19-53107F5B23E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1" b="10036"/>
          <a:stretch/>
        </p:blipFill>
        <p:spPr>
          <a:xfrm>
            <a:off x="-19001" y="-184546"/>
            <a:ext cx="12205910" cy="7042546"/>
          </a:xfrm>
          <a:prstGeom prst="rect">
            <a:avLst/>
          </a:prstGeom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396" imgH="396" progId="TCLayout.ActiveDocument.1">
                  <p:embed/>
                </p:oleObj>
              </mc:Choice>
              <mc:Fallback>
                <p:oleObj name="think-cell Slide" r:id="rId6" imgW="396" imgH="39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llipse 1">
            <a:extLst>
              <a:ext uri="{FF2B5EF4-FFF2-40B4-BE49-F238E27FC236}">
                <a16:creationId xmlns:a16="http://schemas.microsoft.com/office/drawing/2014/main" id="{1F87BB16-8355-43B9-89D4-0D95430BDE40}"/>
              </a:ext>
            </a:extLst>
          </p:cNvPr>
          <p:cNvSpPr/>
          <p:nvPr/>
        </p:nvSpPr>
        <p:spPr>
          <a:xfrm>
            <a:off x="2278754" y="1854262"/>
            <a:ext cx="2911079" cy="2836570"/>
          </a:xfrm>
          <a:prstGeom prst="ellipse">
            <a:avLst/>
          </a:prstGeom>
          <a:solidFill>
            <a:srgbClr val="000000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3341D854-7CE9-4341-941F-F763B1A5FAC4}"/>
              </a:ext>
            </a:extLst>
          </p:cNvPr>
          <p:cNvSpPr/>
          <p:nvPr/>
        </p:nvSpPr>
        <p:spPr>
          <a:xfrm>
            <a:off x="2358872" y="2401012"/>
            <a:ext cx="275421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t>En attraktiv  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t>møteplass for næringsliv, kultur- og organisasjonsliv midt i Oslo sentrum.</a:t>
            </a: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70C1B4EC-70DA-4ECB-88A7-75AF29F64D01}"/>
              </a:ext>
            </a:extLst>
          </p:cNvPr>
          <p:cNvSpPr/>
          <p:nvPr/>
        </p:nvSpPr>
        <p:spPr>
          <a:xfrm>
            <a:off x="5680628" y="2352085"/>
            <a:ext cx="1782894" cy="1747701"/>
          </a:xfrm>
          <a:prstGeom prst="ellipse">
            <a:avLst/>
          </a:prstGeom>
          <a:solidFill>
            <a:srgbClr val="000000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B06E5153-3235-4D54-B668-B8F46524EB3A}"/>
              </a:ext>
            </a:extLst>
          </p:cNvPr>
          <p:cNvSpPr/>
          <p:nvPr/>
        </p:nvSpPr>
        <p:spPr>
          <a:xfrm>
            <a:off x="607858" y="505688"/>
            <a:ext cx="1782894" cy="1747701"/>
          </a:xfrm>
          <a:prstGeom prst="ellipse">
            <a:avLst/>
          </a:prstGeom>
          <a:solidFill>
            <a:srgbClr val="000000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t>Vekst i reiseliv</a:t>
            </a: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5802F6F0-FFA9-411D-AE21-FB4CD0EA3B2A}"/>
              </a:ext>
            </a:extLst>
          </p:cNvPr>
          <p:cNvSpPr/>
          <p:nvPr/>
        </p:nvSpPr>
        <p:spPr>
          <a:xfrm>
            <a:off x="4887684" y="505688"/>
            <a:ext cx="1782894" cy="1747701"/>
          </a:xfrm>
          <a:prstGeom prst="ellipse">
            <a:avLst/>
          </a:prstGeom>
          <a:solidFill>
            <a:srgbClr val="000000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t>Arbeids-plasser 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22B471EA-5C8B-49C6-AE8A-D6753673A721}"/>
              </a:ext>
            </a:extLst>
          </p:cNvPr>
          <p:cNvSpPr/>
          <p:nvPr/>
        </p:nvSpPr>
        <p:spPr>
          <a:xfrm>
            <a:off x="2816892" y="-176655"/>
            <a:ext cx="1782894" cy="1747701"/>
          </a:xfrm>
          <a:prstGeom prst="ellipse">
            <a:avLst/>
          </a:prstGeom>
          <a:solidFill>
            <a:srgbClr val="000000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t>Kulturliv 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1CAFFAF1-313C-4FAE-85D5-4315B4BBA723}"/>
              </a:ext>
            </a:extLst>
          </p:cNvPr>
          <p:cNvSpPr/>
          <p:nvPr/>
        </p:nvSpPr>
        <p:spPr>
          <a:xfrm>
            <a:off x="-19001" y="2352085"/>
            <a:ext cx="1782894" cy="1747701"/>
          </a:xfrm>
          <a:prstGeom prst="ellipse">
            <a:avLst/>
          </a:prstGeom>
          <a:solidFill>
            <a:srgbClr val="000000">
              <a:alpha val="8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t>Byliv!</a:t>
            </a: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02A18009-A4EF-4B18-8BB5-93F0D0FEA9CD}"/>
              </a:ext>
            </a:extLst>
          </p:cNvPr>
          <p:cNvSpPr/>
          <p:nvPr/>
        </p:nvSpPr>
        <p:spPr>
          <a:xfrm>
            <a:off x="4965057" y="4399141"/>
            <a:ext cx="1782894" cy="1747701"/>
          </a:xfrm>
          <a:prstGeom prst="ellipse">
            <a:avLst/>
          </a:prstGeom>
          <a:solidFill>
            <a:srgbClr val="000000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t>Tryg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t>byrom</a:t>
            </a: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9A7FD937-4235-4E2A-A900-0C6A8B36D565}"/>
              </a:ext>
            </a:extLst>
          </p:cNvPr>
          <p:cNvSpPr/>
          <p:nvPr/>
        </p:nvSpPr>
        <p:spPr>
          <a:xfrm>
            <a:off x="798495" y="4415699"/>
            <a:ext cx="1782894" cy="1747701"/>
          </a:xfrm>
          <a:prstGeom prst="ellipse">
            <a:avLst/>
          </a:prstGeom>
          <a:solidFill>
            <a:srgbClr val="000000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3D1F3C94-CBB8-41D2-A9F9-CDCB7112F7F6}"/>
              </a:ext>
            </a:extLst>
          </p:cNvPr>
          <p:cNvSpPr/>
          <p:nvPr/>
        </p:nvSpPr>
        <p:spPr>
          <a:xfrm>
            <a:off x="2890742" y="5035783"/>
            <a:ext cx="1782894" cy="1747701"/>
          </a:xfrm>
          <a:prstGeom prst="ellipse">
            <a:avLst/>
          </a:prstGeom>
          <a:solidFill>
            <a:srgbClr val="000000">
              <a:alpha val="6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21" name="Pil: høyre 20">
            <a:extLst>
              <a:ext uri="{FF2B5EF4-FFF2-40B4-BE49-F238E27FC236}">
                <a16:creationId xmlns:a16="http://schemas.microsoft.com/office/drawing/2014/main" id="{FACECB82-F2B5-4919-A458-39D116440F08}"/>
              </a:ext>
            </a:extLst>
          </p:cNvPr>
          <p:cNvSpPr/>
          <p:nvPr/>
        </p:nvSpPr>
        <p:spPr>
          <a:xfrm rot="18957813">
            <a:off x="4723140" y="1842229"/>
            <a:ext cx="463158" cy="539914"/>
          </a:xfrm>
          <a:prstGeom prst="rightArrow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24" name="Pil: høyre 23">
            <a:extLst>
              <a:ext uri="{FF2B5EF4-FFF2-40B4-BE49-F238E27FC236}">
                <a16:creationId xmlns:a16="http://schemas.microsoft.com/office/drawing/2014/main" id="{AFA9D4D0-B407-4A07-978E-05CDD49EE6AF}"/>
              </a:ext>
            </a:extLst>
          </p:cNvPr>
          <p:cNvSpPr/>
          <p:nvPr/>
        </p:nvSpPr>
        <p:spPr>
          <a:xfrm rot="16200000">
            <a:off x="3446769" y="1291897"/>
            <a:ext cx="575271" cy="577980"/>
          </a:xfrm>
          <a:prstGeom prst="rightArrow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25" name="Pil: høyre 24">
            <a:extLst>
              <a:ext uri="{FF2B5EF4-FFF2-40B4-BE49-F238E27FC236}">
                <a16:creationId xmlns:a16="http://schemas.microsoft.com/office/drawing/2014/main" id="{71AB1B9E-8567-4291-B883-3A864758F31F}"/>
              </a:ext>
            </a:extLst>
          </p:cNvPr>
          <p:cNvSpPr/>
          <p:nvPr/>
        </p:nvSpPr>
        <p:spPr>
          <a:xfrm rot="13280819">
            <a:off x="2113638" y="1858797"/>
            <a:ext cx="589102" cy="591220"/>
          </a:xfrm>
          <a:prstGeom prst="rightArrow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26" name="Pil: høyre 25">
            <a:extLst>
              <a:ext uri="{FF2B5EF4-FFF2-40B4-BE49-F238E27FC236}">
                <a16:creationId xmlns:a16="http://schemas.microsoft.com/office/drawing/2014/main" id="{480FE625-DFAC-4DD8-B293-60B7305B12D6}"/>
              </a:ext>
            </a:extLst>
          </p:cNvPr>
          <p:cNvSpPr/>
          <p:nvPr/>
        </p:nvSpPr>
        <p:spPr>
          <a:xfrm rot="10800000">
            <a:off x="1717681" y="3003098"/>
            <a:ext cx="589102" cy="591220"/>
          </a:xfrm>
          <a:prstGeom prst="rightArrow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27" name="Pil: høyre 26">
            <a:extLst>
              <a:ext uri="{FF2B5EF4-FFF2-40B4-BE49-F238E27FC236}">
                <a16:creationId xmlns:a16="http://schemas.microsoft.com/office/drawing/2014/main" id="{9D6019C0-D57C-4DCC-9E6D-262C39C3C0C8}"/>
              </a:ext>
            </a:extLst>
          </p:cNvPr>
          <p:cNvSpPr/>
          <p:nvPr/>
        </p:nvSpPr>
        <p:spPr>
          <a:xfrm rot="7957551">
            <a:off x="2199796" y="4191857"/>
            <a:ext cx="589102" cy="591220"/>
          </a:xfrm>
          <a:prstGeom prst="rightArrow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29" name="Pil: høyre 28">
            <a:extLst>
              <a:ext uri="{FF2B5EF4-FFF2-40B4-BE49-F238E27FC236}">
                <a16:creationId xmlns:a16="http://schemas.microsoft.com/office/drawing/2014/main" id="{796A8D1B-1FEB-43F3-9AE6-04B261783963}"/>
              </a:ext>
            </a:extLst>
          </p:cNvPr>
          <p:cNvSpPr/>
          <p:nvPr/>
        </p:nvSpPr>
        <p:spPr>
          <a:xfrm rot="5400000">
            <a:off x="3439853" y="4647421"/>
            <a:ext cx="589102" cy="591220"/>
          </a:xfrm>
          <a:prstGeom prst="rightArrow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30" name="Pil: høyre 29">
            <a:extLst>
              <a:ext uri="{FF2B5EF4-FFF2-40B4-BE49-F238E27FC236}">
                <a16:creationId xmlns:a16="http://schemas.microsoft.com/office/drawing/2014/main" id="{DDAB0A47-F294-40BF-AC07-2A49E149B69D}"/>
              </a:ext>
            </a:extLst>
          </p:cNvPr>
          <p:cNvSpPr/>
          <p:nvPr/>
        </p:nvSpPr>
        <p:spPr>
          <a:xfrm rot="2478679">
            <a:off x="4789340" y="4148216"/>
            <a:ext cx="589102" cy="591220"/>
          </a:xfrm>
          <a:prstGeom prst="rightArrow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31" name="Pil: høyre 30">
            <a:extLst>
              <a:ext uri="{FF2B5EF4-FFF2-40B4-BE49-F238E27FC236}">
                <a16:creationId xmlns:a16="http://schemas.microsoft.com/office/drawing/2014/main" id="{D0B404F8-20BD-4BE0-A2A4-6B8D7A9E438E}"/>
              </a:ext>
            </a:extLst>
          </p:cNvPr>
          <p:cNvSpPr/>
          <p:nvPr/>
        </p:nvSpPr>
        <p:spPr>
          <a:xfrm>
            <a:off x="5162036" y="3003098"/>
            <a:ext cx="589102" cy="591220"/>
          </a:xfrm>
          <a:prstGeom prst="rightArrow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Demi" panose="020B0703020102020204" pitchFamily="34" charset="0"/>
              <a:ea typeface="+mn-ea"/>
              <a:cs typeface="+mn-cs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B559C6CD-4111-40C6-8F01-92279898B705}"/>
              </a:ext>
            </a:extLst>
          </p:cNvPr>
          <p:cNvSpPr/>
          <p:nvPr/>
        </p:nvSpPr>
        <p:spPr>
          <a:xfrm>
            <a:off x="2985665" y="5532458"/>
            <a:ext cx="1607042" cy="6309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7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t>Internasjonal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7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t>kongresser</a:t>
            </a:r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A3BDCA90-F94F-4176-96FF-37600AFC79F2}"/>
              </a:ext>
            </a:extLst>
          </p:cNvPr>
          <p:cNvSpPr/>
          <p:nvPr/>
        </p:nvSpPr>
        <p:spPr>
          <a:xfrm>
            <a:off x="1119352" y="5111983"/>
            <a:ext cx="10495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t>Nettverk</a:t>
            </a:r>
          </a:p>
        </p:txBody>
      </p:sp>
      <p:sp>
        <p:nvSpPr>
          <p:cNvPr id="33" name="Rektangel 32">
            <a:extLst>
              <a:ext uri="{FF2B5EF4-FFF2-40B4-BE49-F238E27FC236}">
                <a16:creationId xmlns:a16="http://schemas.microsoft.com/office/drawing/2014/main" id="{DB392904-4E22-4311-A9D0-003451C953C9}"/>
              </a:ext>
            </a:extLst>
          </p:cNvPr>
          <p:cNvSpPr/>
          <p:nvPr/>
        </p:nvSpPr>
        <p:spPr>
          <a:xfrm>
            <a:off x="5889823" y="2942502"/>
            <a:ext cx="1324273" cy="63094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7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t>Kunnskaps-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7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+mn-cs"/>
              </a:rPr>
              <a:t>arena</a:t>
            </a:r>
          </a:p>
        </p:txBody>
      </p:sp>
    </p:spTree>
    <p:extLst>
      <p:ext uri="{BB962C8B-B14F-4D97-AF65-F5344CB8AC3E}">
        <p14:creationId xmlns:p14="http://schemas.microsoft.com/office/powerpoint/2010/main" val="2386784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4" name="Bilde 3" descr="Et bilde som inneholder utendørs, himmel, by, tårn&#10;&#10;Automatisk generert beskrivelse">
            <a:extLst>
              <a:ext uri="{FF2B5EF4-FFF2-40B4-BE49-F238E27FC236}">
                <a16:creationId xmlns:a16="http://schemas.microsoft.com/office/drawing/2014/main" id="{61008AB7-7FE2-46E3-ADCF-E92468775F3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605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2" name="Rektangel 1">
            <a:extLst>
              <a:ext uri="{FF2B5EF4-FFF2-40B4-BE49-F238E27FC236}">
                <a16:creationId xmlns:a16="http://schemas.microsoft.com/office/drawing/2014/main" id="{E9FC88F8-C5EE-4585-987E-C10E842B3C74}"/>
              </a:ext>
            </a:extLst>
          </p:cNvPr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rgbClr val="000000">
              <a:alpha val="43137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3800" dirty="0">
                <a:latin typeface="Franklin Gothic Medium Cond" panose="020B0606030402020204" pitchFamily="34" charset="0"/>
              </a:rPr>
              <a:t>Takk for oss! </a:t>
            </a:r>
          </a:p>
        </p:txBody>
      </p:sp>
    </p:spTree>
    <p:extLst>
      <p:ext uri="{BB962C8B-B14F-4D97-AF65-F5344CB8AC3E}">
        <p14:creationId xmlns:p14="http://schemas.microsoft.com/office/powerpoint/2010/main" val="25227456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Pn0oxPOhTRsb3MCBPZ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6_Schibsted-redigert">
  <a:themeElements>
    <a:clrScheme name="Egendefinert 2">
      <a:dk1>
        <a:sysClr val="windowText" lastClr="000000"/>
      </a:dk1>
      <a:lt1>
        <a:sysClr val="window" lastClr="FFFFFF"/>
      </a:lt1>
      <a:dk2>
        <a:srgbClr val="5C5C5C"/>
      </a:dk2>
      <a:lt2>
        <a:srgbClr val="C8C8C8"/>
      </a:lt2>
      <a:accent1>
        <a:srgbClr val="0084A1"/>
      </a:accent1>
      <a:accent2>
        <a:srgbClr val="00656B"/>
      </a:accent2>
      <a:accent3>
        <a:srgbClr val="007CB7"/>
      </a:accent3>
      <a:accent4>
        <a:srgbClr val="EE6D8A"/>
      </a:accent4>
      <a:accent5>
        <a:srgbClr val="FFF229"/>
      </a:accent5>
      <a:accent6>
        <a:srgbClr val="4D4D4D"/>
      </a:accent6>
      <a:hlink>
        <a:srgbClr val="000000"/>
      </a:hlink>
      <a:folHlink>
        <a:srgbClr val="000000"/>
      </a:folHlink>
    </a:clrScheme>
    <a:fontScheme name="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Franklin Gothic Medium Cond" panose="020B0606030402020204" pitchFamily="34" charset="0"/>
          </a:defRPr>
        </a:defPPr>
      </a:lstStyle>
    </a:spDef>
    <a:lnDef>
      <a:spPr bwMode="auto"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1200" dirty="0" smtClean="0">
            <a:latin typeface="Franklin Gothic Medium Cond" panose="020B0606030402020204" pitchFamily="34" charset="0"/>
          </a:defRPr>
        </a:defPPr>
      </a:lstStyle>
    </a:txDef>
  </a:objectDefaults>
  <a:extraClrSchemeLst>
    <a:extraClrScheme>
      <a:clrScheme name="Default 1">
        <a:dk1>
          <a:srgbClr val="000000"/>
        </a:dk1>
        <a:lt1>
          <a:srgbClr val="FFFFFF"/>
        </a:lt1>
        <a:dk2>
          <a:srgbClr val="4EA0A1"/>
        </a:dk2>
        <a:lt2>
          <a:srgbClr val="A9A39B"/>
        </a:lt2>
        <a:accent1>
          <a:srgbClr val="9CCCE0"/>
        </a:accent1>
        <a:accent2>
          <a:srgbClr val="4EA0A1"/>
        </a:accent2>
        <a:accent3>
          <a:srgbClr val="FFFFFF"/>
        </a:accent3>
        <a:accent4>
          <a:srgbClr val="000000"/>
        </a:accent4>
        <a:accent5>
          <a:srgbClr val="CBE2ED"/>
        </a:accent5>
        <a:accent6>
          <a:srgbClr val="469191"/>
        </a:accent6>
        <a:hlink>
          <a:srgbClr val="BD1731"/>
        </a:hlink>
        <a:folHlink>
          <a:srgbClr val="FF78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sjon1" id="{2DE306BF-4582-4DE6-8B8D-0BF8ABB8BDAE}" vid="{797E5B79-C3F7-493D-91D5-78DCED75DB95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87</TotalTime>
  <Words>57</Words>
  <Application>Microsoft Office PowerPoint</Application>
  <PresentationFormat>Widescreen</PresentationFormat>
  <Paragraphs>19</Paragraphs>
  <Slides>6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9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6</vt:i4>
      </vt:variant>
    </vt:vector>
  </HeadingPairs>
  <TitlesOfParts>
    <vt:vector size="18" baseType="lpstr">
      <vt:lpstr>Arial</vt:lpstr>
      <vt:lpstr>Calibri</vt:lpstr>
      <vt:lpstr>Calibri Light</vt:lpstr>
      <vt:lpstr>Franklin Gothic Book</vt:lpstr>
      <vt:lpstr>Franklin Gothic Demi</vt:lpstr>
      <vt:lpstr>Franklin Gothic Demi Cond</vt:lpstr>
      <vt:lpstr>Franklin Gothic Medium Cond</vt:lpstr>
      <vt:lpstr>Montserrat</vt:lpstr>
      <vt:lpstr>Wingdings</vt:lpstr>
      <vt:lpstr>Office-tema</vt:lpstr>
      <vt:lpstr>6_Schibsted-redigert</vt:lpstr>
      <vt:lpstr>think-cell Slide</vt:lpstr>
      <vt:lpstr> Samarbeid som utfyller og utfordrer!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arbeid som utfyller og utfordrer!</dc:title>
  <dc:creator>Gunn Helen Hagen</dc:creator>
  <cp:lastModifiedBy>Gunn Helen Hagen</cp:lastModifiedBy>
  <cp:revision>4</cp:revision>
  <dcterms:created xsi:type="dcterms:W3CDTF">2021-11-04T09:41:21Z</dcterms:created>
  <dcterms:modified xsi:type="dcterms:W3CDTF">2021-11-05T08:48:26Z</dcterms:modified>
</cp:coreProperties>
</file>